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4"/>
    <p:sldMasterId id="2147483747" r:id="rId5"/>
    <p:sldMasterId id="2147483772" r:id="rId6"/>
    <p:sldMasterId id="2147483796" r:id="rId7"/>
    <p:sldMasterId id="2147483819" r:id="rId8"/>
  </p:sldMasterIdLst>
  <p:notesMasterIdLst>
    <p:notesMasterId r:id="rId12"/>
  </p:notesMasterIdLst>
  <p:sldIdLst>
    <p:sldId id="275" r:id="rId9"/>
    <p:sldId id="257" r:id="rId10"/>
    <p:sldId id="26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85" userDrawn="1">
          <p15:clr>
            <a:srgbClr val="A4A3A4"/>
          </p15:clr>
        </p15:guide>
        <p15:guide id="3" orient="horz" pos="6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4E93"/>
    <a:srgbClr val="00A099"/>
    <a:srgbClr val="4CBCB7"/>
    <a:srgbClr val="3FFFF6"/>
    <a:srgbClr val="0B2D41"/>
    <a:srgbClr val="7FCFCC"/>
    <a:srgbClr val="A4A6C9"/>
    <a:srgbClr val="51A2B1"/>
    <a:srgbClr val="71DEA9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F475B6-6B66-465E-8F71-C47409D7AADD}" v="19" dt="2020-06-02T11:58:30.087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0" y="51"/>
      </p:cViewPr>
      <p:guideLst>
        <p:guide orient="horz" pos="2183"/>
        <p:guide pos="3885"/>
        <p:guide orient="horz" pos="6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ele, Julia" userId="2d83ca60-d74f-4ef1-94c4-ee0f5109f852" providerId="ADAL" clId="{BAF475B6-6B66-465E-8F71-C47409D7AADD}"/>
    <pc:docChg chg="undo custSel addSld delSld modSld delSection modSection">
      <pc:chgData name="Thiele, Julia" userId="2d83ca60-d74f-4ef1-94c4-ee0f5109f852" providerId="ADAL" clId="{BAF475B6-6B66-465E-8F71-C47409D7AADD}" dt="2020-06-02T11:58:34.963" v="36" actId="20577"/>
      <pc:docMkLst>
        <pc:docMk/>
      </pc:docMkLst>
      <pc:sldChg chg="add del">
        <pc:chgData name="Thiele, Julia" userId="2d83ca60-d74f-4ef1-94c4-ee0f5109f852" providerId="ADAL" clId="{BAF475B6-6B66-465E-8F71-C47409D7AADD}" dt="2020-05-28T10:41:35.825" v="5"/>
        <pc:sldMkLst>
          <pc:docMk/>
          <pc:sldMk cId="3350318814" sldId="257"/>
        </pc:sldMkLst>
      </pc:sldChg>
      <pc:sldChg chg="modSp add del">
        <pc:chgData name="Thiele, Julia" userId="2d83ca60-d74f-4ef1-94c4-ee0f5109f852" providerId="ADAL" clId="{BAF475B6-6B66-465E-8F71-C47409D7AADD}" dt="2020-06-02T11:58:34.963" v="36" actId="20577"/>
        <pc:sldMkLst>
          <pc:docMk/>
          <pc:sldMk cId="159515884" sldId="265"/>
        </pc:sldMkLst>
        <pc:spChg chg="mod">
          <ac:chgData name="Thiele, Julia" userId="2d83ca60-d74f-4ef1-94c4-ee0f5109f852" providerId="ADAL" clId="{BAF475B6-6B66-465E-8F71-C47409D7AADD}" dt="2020-06-02T11:58:34.963" v="36" actId="20577"/>
          <ac:spMkLst>
            <pc:docMk/>
            <pc:sldMk cId="159515884" sldId="265"/>
            <ac:spMk id="10" creationId="{323040DB-5935-43D0-8C4F-DC56641841A4}"/>
          </ac:spMkLst>
        </pc:spChg>
      </pc:sldChg>
      <pc:sldChg chg="modSp add del">
        <pc:chgData name="Thiele, Julia" userId="2d83ca60-d74f-4ef1-94c4-ee0f5109f852" providerId="ADAL" clId="{BAF475B6-6B66-465E-8F71-C47409D7AADD}" dt="2020-06-02T11:56:56.280" v="22" actId="20577"/>
        <pc:sldMkLst>
          <pc:docMk/>
          <pc:sldMk cId="66328628" sldId="275"/>
        </pc:sldMkLst>
        <pc:spChg chg="mod">
          <ac:chgData name="Thiele, Julia" userId="2d83ca60-d74f-4ef1-94c4-ee0f5109f852" providerId="ADAL" clId="{BAF475B6-6B66-465E-8F71-C47409D7AADD}" dt="2020-06-02T11:56:56.280" v="22" actId="20577"/>
          <ac:spMkLst>
            <pc:docMk/>
            <pc:sldMk cId="66328628" sldId="275"/>
            <ac:spMk id="60" creationId="{2E2972EF-AA02-0E4D-B927-C2290B6D8676}"/>
          </ac:spMkLst>
        </pc:spChg>
      </pc:sldChg>
      <pc:sldMasterChg chg="delSldLayout">
        <pc:chgData name="Thiele, Julia" userId="2d83ca60-d74f-4ef1-94c4-ee0f5109f852" providerId="ADAL" clId="{BAF475B6-6B66-465E-8F71-C47409D7AADD}" dt="2020-05-28T10:41:35.496" v="1" actId="2696"/>
        <pc:sldMasterMkLst>
          <pc:docMk/>
          <pc:sldMasterMk cId="4286064300" sldId="2147483737"/>
        </pc:sldMasterMkLst>
        <pc:sldLayoutChg chg="del">
          <pc:chgData name="Thiele, Julia" userId="2d83ca60-d74f-4ef1-94c4-ee0f5109f852" providerId="ADAL" clId="{BAF475B6-6B66-465E-8F71-C47409D7AADD}" dt="2020-05-28T10:41:35.496" v="1" actId="2696"/>
          <pc:sldLayoutMkLst>
            <pc:docMk/>
            <pc:sldMasterMk cId="4286064300" sldId="2147483737"/>
            <pc:sldLayoutMk cId="3635573019" sldId="2147483842"/>
          </pc:sldLayoutMkLst>
        </pc:sldLayoutChg>
      </pc:sldMasterChg>
    </pc:docChg>
  </pc:docChgLst>
  <pc:docChgLst>
    <pc:chgData name="Thiele, Julia" userId="2d83ca60-d74f-4ef1-94c4-ee0f5109f852" providerId="ADAL" clId="{D10BA73E-8188-4608-BF2A-617CAC5CAE40}"/>
    <pc:docChg chg="custSel addSld delSld modSld sldOrd modSection">
      <pc:chgData name="Thiele, Julia" userId="2d83ca60-d74f-4ef1-94c4-ee0f5109f852" providerId="ADAL" clId="{D10BA73E-8188-4608-BF2A-617CAC5CAE40}" dt="2020-05-28T10:37:47.916" v="382" actId="6549"/>
      <pc:docMkLst>
        <pc:docMk/>
      </pc:docMkLst>
      <pc:sldChg chg="del">
        <pc:chgData name="Thiele, Julia" userId="2d83ca60-d74f-4ef1-94c4-ee0f5109f852" providerId="ADAL" clId="{D10BA73E-8188-4608-BF2A-617CAC5CAE40}" dt="2020-05-28T10:33:19.535" v="0" actId="2696"/>
        <pc:sldMkLst>
          <pc:docMk/>
          <pc:sldMk cId="3494437355" sldId="256"/>
        </pc:sldMkLst>
      </pc:sldChg>
      <pc:sldChg chg="modSp">
        <pc:chgData name="Thiele, Julia" userId="2d83ca60-d74f-4ef1-94c4-ee0f5109f852" providerId="ADAL" clId="{D10BA73E-8188-4608-BF2A-617CAC5CAE40}" dt="2020-05-28T10:37:37.461" v="380" actId="113"/>
        <pc:sldMkLst>
          <pc:docMk/>
          <pc:sldMk cId="3350318814" sldId="257"/>
        </pc:sldMkLst>
        <pc:spChg chg="mod">
          <ac:chgData name="Thiele, Julia" userId="2d83ca60-d74f-4ef1-94c4-ee0f5109f852" providerId="ADAL" clId="{D10BA73E-8188-4608-BF2A-617CAC5CAE40}" dt="2020-05-28T10:37:37.461" v="380" actId="113"/>
          <ac:spMkLst>
            <pc:docMk/>
            <pc:sldMk cId="3350318814" sldId="257"/>
            <ac:spMk id="4" creationId="{8C67E2FB-2B7E-4B54-A532-7552151E7C68}"/>
          </ac:spMkLst>
        </pc:spChg>
      </pc:sldChg>
      <pc:sldChg chg="addSp delSp modSp">
        <pc:chgData name="Thiele, Julia" userId="2d83ca60-d74f-4ef1-94c4-ee0f5109f852" providerId="ADAL" clId="{D10BA73E-8188-4608-BF2A-617CAC5CAE40}" dt="2020-05-28T10:37:47.916" v="382" actId="6549"/>
        <pc:sldMkLst>
          <pc:docMk/>
          <pc:sldMk cId="159515884" sldId="265"/>
        </pc:sldMkLst>
        <pc:spChg chg="add del mod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" creationId="{8885AACD-4FA1-4232-A1E4-F7175BCEF6C5}"/>
          </ac:spMkLst>
        </pc:spChg>
        <pc:spChg chg="add mod">
          <ac:chgData name="Thiele, Julia" userId="2d83ca60-d74f-4ef1-94c4-ee0f5109f852" providerId="ADAL" clId="{D10BA73E-8188-4608-BF2A-617CAC5CAE40}" dt="2020-05-28T10:37:47.916" v="382" actId="6549"/>
          <ac:spMkLst>
            <pc:docMk/>
            <pc:sldMk cId="159515884" sldId="265"/>
            <ac:spMk id="10" creationId="{323040DB-5935-43D0-8C4F-DC56641841A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0" creationId="{9A07091F-15AA-458E-ABC5-229A3055B30D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1" creationId="{31DFA87A-16CF-4622-9EBA-BC4FC671FD36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2" creationId="{8C7738D7-D2F8-48DF-800B-BFF9A81FA796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3" creationId="{DD457C38-1831-498B-B9FE-C73FA1472D05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4" creationId="{C5606689-7431-4410-9E63-ED88FCB8228D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5" creationId="{74CD0BD1-D659-4617-AB0F-E6A5507D32F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6" creationId="{CA9FC77B-455D-4D4A-99E3-1F2C033CDBCA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7" creationId="{28797C85-70F8-4E68-A4E0-604E7E4FFB2C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8" creationId="{FD57282D-9763-4BCF-B534-4F3FA0D3489C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9" creationId="{57571ED4-68F2-495A-80BC-708AF5C4FE8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4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6" creationId="{59C8171F-C8C3-48F2-BB65-B909328E039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7" creationId="{58F64324-D3F3-472C-9C32-ED2F0AEAA439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0" creationId="{08B8A3C1-850F-4868-921C-25B39C6D6C73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1" creationId="{1579B2A0-D841-4856-BEC1-A62CA682383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4" creationId="{C99A57FD-68B2-40B8-A717-91D5F3CE885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6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7" creationId="{356A252E-01AA-490C-A28D-D8943A2BB5C2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4" creationId="{BC10093A-14B5-4B15-B7E4-5152F35FD81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5" creationId="{8A93EBB2-6BD0-4586-8BCF-7A4E622BD1C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6" creationId="{1406BEE9-4E98-4C38-AB44-1612B1166352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7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8" creationId="{892EDE01-1E55-422F-82B8-369B5F0AB10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1" creationId="{080433EF-EA57-4C96-86BC-AF385466CEC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2" creationId="{DA519499-CC31-4523-9C36-D596AA183DB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5" creationId="{20C6F722-AF9C-429B-B1BE-66DD01AFFFF1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6" creationId="{67A5B94D-B461-4277-B55B-CE542A3692BE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7" creationId="{CA567C38-D6BE-4D41-8B7B-40E0110CF15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8" creationId="{4821D6D3-E346-4C65-AB11-C312E95487D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9" creationId="{EB580C2D-8035-4BA5-80E6-71B489D8650A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100" creationId="{D273893E-8034-4DAC-873F-745D76BB4131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147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31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32" creationId="{00000000-0000-0000-0000-000000000000}"/>
          </ac:spMkLst>
        </pc:spChg>
        <pc:spChg chg="mod">
          <ac:chgData name="Thiele, Julia" userId="2d83ca60-d74f-4ef1-94c4-ee0f5109f852" providerId="ADAL" clId="{D10BA73E-8188-4608-BF2A-617CAC5CAE40}" dt="2020-05-28T10:35:50.958" v="215" actId="6549"/>
          <ac:spMkLst>
            <pc:docMk/>
            <pc:sldMk cId="159515884" sldId="265"/>
            <ac:spMk id="757779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57782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57783" creationId="{00000000-0000-0000-0000-000000000000}"/>
          </ac:spMkLst>
        </pc:s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3" creationId="{FEE326EC-1336-423E-B923-FF01F38831C3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8" creationId="{F60C0C2C-84A0-4AF9-B455-D8B1D7D471C3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9" creationId="{E3960C40-F7A3-4A97-BDAE-3E1AED3CA8CA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13" creationId="{67BD8CC4-23EF-4562-A521-83449CD6CD39}"/>
          </ac:grpSpMkLst>
        </pc:grp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72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76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80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85" creationId="{00000000-0000-0000-0000-000000000000}"/>
          </ac:cxnSpMkLst>
        </pc:cxnChg>
      </pc:sldChg>
      <pc:sldChg chg="del">
        <pc:chgData name="Thiele, Julia" userId="2d83ca60-d74f-4ef1-94c4-ee0f5109f852" providerId="ADAL" clId="{D10BA73E-8188-4608-BF2A-617CAC5CAE40}" dt="2020-05-28T10:33:20.150" v="1" actId="2696"/>
        <pc:sldMkLst>
          <pc:docMk/>
          <pc:sldMk cId="4268228315" sldId="267"/>
        </pc:sldMkLst>
      </pc:sldChg>
      <pc:sldChg chg="del">
        <pc:chgData name="Thiele, Julia" userId="2d83ca60-d74f-4ef1-94c4-ee0f5109f852" providerId="ADAL" clId="{D10BA73E-8188-4608-BF2A-617CAC5CAE40}" dt="2020-05-28T10:33:23.308" v="6" actId="2696"/>
        <pc:sldMkLst>
          <pc:docMk/>
          <pc:sldMk cId="1069332437" sldId="269"/>
        </pc:sldMkLst>
      </pc:sldChg>
      <pc:sldChg chg="modSp add del ord">
        <pc:chgData name="Thiele, Julia" userId="2d83ca60-d74f-4ef1-94c4-ee0f5109f852" providerId="ADAL" clId="{D10BA73E-8188-4608-BF2A-617CAC5CAE40}" dt="2020-05-28T10:37:27.787" v="374" actId="14100"/>
        <pc:sldMkLst>
          <pc:docMk/>
          <pc:sldMk cId="66328628" sldId="275"/>
        </pc:sldMkLst>
        <pc:spChg chg="mod">
          <ac:chgData name="Thiele, Julia" userId="2d83ca60-d74f-4ef1-94c4-ee0f5109f852" providerId="ADAL" clId="{D10BA73E-8188-4608-BF2A-617CAC5CAE40}" dt="2020-05-28T10:37:27.787" v="374" actId="14100"/>
          <ac:spMkLst>
            <pc:docMk/>
            <pc:sldMk cId="66328628" sldId="275"/>
            <ac:spMk id="29" creationId="{00000000-0000-0000-0000-000000000000}"/>
          </ac:spMkLst>
        </pc:spChg>
      </pc:sldChg>
      <pc:sldChg chg="del">
        <pc:chgData name="Thiele, Julia" userId="2d83ca60-d74f-4ef1-94c4-ee0f5109f852" providerId="ADAL" clId="{D10BA73E-8188-4608-BF2A-617CAC5CAE40}" dt="2020-05-28T10:33:20.754" v="2" actId="2696"/>
        <pc:sldMkLst>
          <pc:docMk/>
          <pc:sldMk cId="2793187229" sldId="276"/>
        </pc:sldMkLst>
      </pc:sldChg>
      <pc:sldChg chg="del">
        <pc:chgData name="Thiele, Julia" userId="2d83ca60-d74f-4ef1-94c4-ee0f5109f852" providerId="ADAL" clId="{D10BA73E-8188-4608-BF2A-617CAC5CAE40}" dt="2020-05-28T10:33:22.049" v="4" actId="2696"/>
        <pc:sldMkLst>
          <pc:docMk/>
          <pc:sldMk cId="3048401270" sldId="277"/>
        </pc:sldMkLst>
      </pc:sldChg>
      <pc:sldChg chg="del">
        <pc:chgData name="Thiele, Julia" userId="2d83ca60-d74f-4ef1-94c4-ee0f5109f852" providerId="ADAL" clId="{D10BA73E-8188-4608-BF2A-617CAC5CAE40}" dt="2020-05-28T10:33:21.372" v="3" actId="2696"/>
        <pc:sldMkLst>
          <pc:docMk/>
          <pc:sldMk cId="1202451959" sldId="278"/>
        </pc:sldMkLst>
      </pc:sldChg>
      <pc:sldChg chg="del">
        <pc:chgData name="Thiele, Julia" userId="2d83ca60-d74f-4ef1-94c4-ee0f5109f852" providerId="ADAL" clId="{D10BA73E-8188-4608-BF2A-617CAC5CAE40}" dt="2020-05-28T10:33:22.666" v="5" actId="2696"/>
        <pc:sldMkLst>
          <pc:docMk/>
          <pc:sldMk cId="2053571025" sldId="279"/>
        </pc:sldMkLst>
      </pc:sldChg>
      <pc:sldMasterChg chg="delSldLayout">
        <pc:chgData name="Thiele, Julia" userId="2d83ca60-d74f-4ef1-94c4-ee0f5109f852" providerId="ADAL" clId="{D10BA73E-8188-4608-BF2A-617CAC5CAE40}" dt="2020-05-28T10:33:23.995" v="8" actId="2696"/>
        <pc:sldMasterMkLst>
          <pc:docMk/>
          <pc:sldMasterMk cId="4286064300" sldId="2147483737"/>
        </pc:sldMasterMkLst>
        <pc:sldLayoutChg chg="del">
          <pc:chgData name="Thiele, Julia" userId="2d83ca60-d74f-4ef1-94c4-ee0f5109f852" providerId="ADAL" clId="{D10BA73E-8188-4608-BF2A-617CAC5CAE40}" dt="2020-05-28T10:33:23.995" v="8" actId="2696"/>
          <pc:sldLayoutMkLst>
            <pc:docMk/>
            <pc:sldMasterMk cId="4286064300" sldId="2147483737"/>
            <pc:sldLayoutMk cId="4262446158" sldId="2147483839"/>
          </pc:sldLayoutMkLst>
        </pc:sldLayoutChg>
      </pc:sldMasterChg>
    </pc:docChg>
  </pc:docChgLst>
  <pc:docChgLst>
    <pc:chgData name="Alexander Perl" userId="5490315d-cd1d-4ad5-9278-c9617bbad372" providerId="ADAL" clId="{8DD788CC-20D9-459E-B01A-F81E512A85B8}"/>
    <pc:docChg chg="modSld delSection">
      <pc:chgData name="Alexander Perl" userId="5490315d-cd1d-4ad5-9278-c9617bbad372" providerId="ADAL" clId="{8DD788CC-20D9-459E-B01A-F81E512A85B8}" dt="2020-05-29T09:43:35.564" v="14" actId="17853"/>
      <pc:docMkLst>
        <pc:docMk/>
      </pc:docMkLst>
      <pc:sldChg chg="modSp">
        <pc:chgData name="Alexander Perl" userId="5490315d-cd1d-4ad5-9278-c9617bbad372" providerId="ADAL" clId="{8DD788CC-20D9-459E-B01A-F81E512A85B8}" dt="2020-05-29T09:24:11.944" v="13" actId="20577"/>
        <pc:sldMkLst>
          <pc:docMk/>
          <pc:sldMk cId="159515884" sldId="265"/>
        </pc:sldMkLst>
        <pc:spChg chg="mod">
          <ac:chgData name="Alexander Perl" userId="5490315d-cd1d-4ad5-9278-c9617bbad372" providerId="ADAL" clId="{8DD788CC-20D9-459E-B01A-F81E512A85B8}" dt="2020-05-29T09:24:11.944" v="13" actId="20577"/>
          <ac:spMkLst>
            <pc:docMk/>
            <pc:sldMk cId="159515884" sldId="265"/>
            <ac:spMk id="10" creationId="{323040DB-5935-43D0-8C4F-DC56641841A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596A4B-4123-4A15-A843-AF70B61C4ED3}" type="datetimeFigureOut">
              <a:rPr lang="de-DE" smtClean="0"/>
              <a:t>02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D43DAB-C78A-4703-A16D-6C8A261DD70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3474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  <a:prstGeom prst="rect">
            <a:avLst/>
          </a:prstGeo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  <a:prstGeom prst="rect">
            <a:avLst/>
          </a:prstGeo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089233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Vorname Nachname 16_9.pptx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DB5D3B9-E1E8-4972-AC69-98B499E15848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107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Vorname Nachname 16_9.pptx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DB5D3B9-E1E8-4972-AC69-98B499E15848}" type="datetime1">
              <a:rPr lang="de-DE" smtClean="0"/>
              <a:t>02.06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107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3115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246"/>
            </a:lvl1pPr>
            <a:lvl2pPr marL="237355" indent="0" algn="ctr">
              <a:buNone/>
              <a:defRPr sz="1038"/>
            </a:lvl2pPr>
            <a:lvl3pPr marL="474711" indent="0" algn="ctr">
              <a:buNone/>
              <a:defRPr sz="934"/>
            </a:lvl3pPr>
            <a:lvl4pPr marL="712066" indent="0" algn="ctr">
              <a:buNone/>
              <a:defRPr sz="831"/>
            </a:lvl4pPr>
            <a:lvl5pPr marL="949422" indent="0" algn="ctr">
              <a:buNone/>
              <a:defRPr sz="831"/>
            </a:lvl5pPr>
            <a:lvl6pPr marL="1186777" indent="0" algn="ctr">
              <a:buNone/>
              <a:defRPr sz="831"/>
            </a:lvl6pPr>
            <a:lvl7pPr marL="1424132" indent="0" algn="ctr">
              <a:buNone/>
              <a:defRPr sz="831"/>
            </a:lvl7pPr>
            <a:lvl8pPr marL="1661488" indent="0" algn="ctr">
              <a:buNone/>
              <a:defRPr sz="831"/>
            </a:lvl8pPr>
            <a:lvl9pPr marL="1898843" indent="0" algn="ctr">
              <a:buNone/>
              <a:defRPr sz="831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BDDF3-9980-144D-860D-DE698373997E}" type="datetimeFigureOut">
              <a:rPr lang="de-DE" smtClean="0"/>
              <a:t>02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C34F7E-131D-FD44-946A-4AA601A3E9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123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650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FEE3766-CEE3-4129-97B9-759CA4239866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10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094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0A462F6-DF14-4B16-B5CA-D1C5314050EA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19922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071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125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1D3558A-334D-4E1E-AB4B-7B6B0CA6BDEA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4048125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87805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071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125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D89CBE7-DE55-4039-B7FC-AF589979F7D7}" type="datetime1">
              <a:rPr lang="de-DE" smtClean="0"/>
              <a:t>02.06.2020</a:t>
            </a:fld>
            <a:endParaRPr lang="de-DE"/>
          </a:p>
        </p:txBody>
      </p:sp>
      <p:sp>
        <p:nvSpPr>
          <p:cNvPr id="9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4048125" y="884238"/>
            <a:ext cx="3715200" cy="5614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8121562" y="884238"/>
            <a:ext cx="3715200" cy="5614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7951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433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487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459F06D-3CA8-461A-9506-5EA0A2766BB5}" type="datetime1">
              <a:rPr lang="de-DE" smtClean="0"/>
              <a:t>02.06.2020</a:t>
            </a:fld>
            <a:endParaRPr lang="de-DE"/>
          </a:p>
        </p:txBody>
      </p:sp>
      <p:sp>
        <p:nvSpPr>
          <p:cNvPr id="9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4048125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 bwMode="gray">
          <a:xfrm>
            <a:off x="4048487" y="3402000"/>
            <a:ext cx="7788275" cy="30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8121562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693999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1979DC0-CD3C-4B7C-BE3B-58D326315C5C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341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FA72DB0-395C-4520-8627-560BD362775F}" type="datetime1">
              <a:rPr lang="de-DE" smtClean="0"/>
              <a:t>02.06.2020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059708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1052BB4-7349-4A23-8924-33CFD44E66BF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005000" y="1355193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9494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60E0E8C-3E03-45C9-8B90-0EE21521BAE3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371520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005000" y="1355193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sp>
        <p:nvSpPr>
          <p:cNvPr id="12" name="Textplatzhalter 4"/>
          <p:cNvSpPr>
            <a:spLocks noGrp="1"/>
          </p:cNvSpPr>
          <p:nvPr>
            <p:ph idx="12"/>
          </p:nvPr>
        </p:nvSpPr>
        <p:spPr>
          <a:xfrm>
            <a:off x="4433438" y="883065"/>
            <a:ext cx="371520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1141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7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360000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Inhaltsplatzhalter 9"/>
          <p:cNvSpPr>
            <a:spLocks noGrp="1"/>
          </p:cNvSpPr>
          <p:nvPr>
            <p:ph sz="quarter" idx="12"/>
          </p:nvPr>
        </p:nvSpPr>
        <p:spPr bwMode="gray">
          <a:xfrm>
            <a:off x="360362" y="3402000"/>
            <a:ext cx="7788275" cy="30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4433437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960893C-BFB5-484F-9C21-667E5E7A6F6D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770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33483F6-A508-47D2-A73A-1402992CACA6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0229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588A895-2192-430D-AF65-322D2E99D508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5354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555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20"/>
          </p:nvPr>
        </p:nvSpPr>
        <p:spPr>
          <a:xfrm>
            <a:off x="6273247" y="884238"/>
            <a:ext cx="555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90F7722-FE13-4326-A6A8-4927FAAFB704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0553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Konsequenz durch Klicken bearbeit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21"/>
          </p:nvPr>
        </p:nvSpPr>
        <p:spPr>
          <a:xfrm>
            <a:off x="4295847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6"/>
          </p:nvPr>
        </p:nvSpPr>
        <p:spPr>
          <a:xfrm>
            <a:off x="8231692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7E9A5D3-F9C0-4F98-85F2-2454FD928BD7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4972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 (2/3-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Konsequenz durch Klicken bearbeiten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53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20"/>
          </p:nvPr>
        </p:nvSpPr>
        <p:spPr>
          <a:xfrm>
            <a:off x="8232775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6C3C126-AD7B-4F4E-816E-B73FC9D84750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689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Kasten und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788638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8509000" y="884238"/>
            <a:ext cx="3324200" cy="409098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72000" tIns="36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9C5C606-1EBA-4A29-8DA0-7531DAA49A5C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344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e mit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788638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5"/>
          </p:nvPr>
        </p:nvSpPr>
        <p:spPr>
          <a:xfrm>
            <a:off x="8509000" y="884238"/>
            <a:ext cx="3324200" cy="561376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72000" tIns="36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094FFDD-AB26-4259-A66C-3E979EBC5F47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8485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4D806F6-DD00-4EC4-90EF-AC9F9CFF4C6A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62772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55548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6273247" y="884238"/>
            <a:ext cx="55548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93EAD9A-A606-40CD-98BB-4049251EA4D6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4501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95847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231692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7725F1D-A726-4B4F-873C-2D4EC8F5D9BF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98003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(2/3-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884238"/>
            <a:ext cx="753584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8231692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43EEAF1-D477-4BFB-9272-9F1CBA72D0F3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6691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456C90B-3CA4-4BF8-BF42-7200FE48375B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6852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E79E8A0-FA56-437D-BF7A-009ADBC31277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7010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8041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1840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C719484-CE2C-4728-8BEF-D190FF645E4C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7488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971B3A6-2FFE-4A5E-B9EB-0968E62386CE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048581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385EC82-8475-49A6-88C0-FFD601D7F420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686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B1E8931-0EC6-4AD8-9D27-764D72F0359A}" type="datetime1">
              <a:rPr lang="de-DE" smtClean="0"/>
              <a:t>02.06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50842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92B6FE8-9887-4ECE-B7C1-36A1BC36F576}" type="datetime1">
              <a:rPr lang="de-DE" smtClean="0"/>
              <a:t>02.06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89335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CF601EF-21F3-4D33-9C51-55DBB0481EE0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691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53309F9-0EC0-46AC-B12B-E766DB8EFB28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71504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3ABDEFA-77AA-498E-985D-CDA00D4A4266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91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811B31A-89B5-4132-9357-C7B769E5FC0A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072812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9305FB5-5474-4605-B75E-E85867F34257}" type="datetime1">
              <a:rPr lang="de-DE" smtClean="0"/>
              <a:t>02.06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31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52FCAEB-DF37-4ED3-AEBB-373795D6CDB8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1956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A008376-1389-49A0-B817-7C6CC5F67743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755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37FB0EA-21A9-47F9-B69A-854B80A35CBC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0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FE1BF35-8348-42F2-845C-1FA885910610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0963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D59D8B2-6332-4213-BAE6-52E1AE7D0D9F}" type="datetime1">
              <a:rPr lang="de-DE" smtClean="0"/>
              <a:t>02.06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303778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F83D226-8F5C-4A08-B8B0-B92EADF15728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56278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F3A4473-628A-47E3-987F-851FA951B10B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2182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5964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C1DEC5F-57F7-4DDC-87AD-07D47C7FD9E4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5893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68FDA5F-B678-41F6-A096-A30DEB991691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81024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039277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05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966FC25-28EF-4A8A-86EE-4547F76AB5EC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5186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EE76FFC-045B-4C79-90A5-DF418846F438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041018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EA35AF7-1A0A-4B29-A3A9-273F9D250980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48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BEF577E-C731-4B86-B280-8217B3F8DC1E}" type="datetime1">
              <a:rPr lang="de-DE" smtClean="0"/>
              <a:t>02.06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17376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DF7F5CC-EC5A-4D23-AA2C-729EE9C1D33E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795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AFC8893-057A-4810-8668-0A6E1C0A6D5E}" type="datetime1">
              <a:rPr lang="de-DE" smtClean="0"/>
              <a:t>02.06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09508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924A349-9388-4AEF-8BB0-00E0A2D03BD4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089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8049128-9F4D-4C96-AE6F-CEE7B9057B73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4246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F8B855F-C8BE-41DE-B56F-82FC8EB5410B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304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6209D76-F08E-40E0-B508-AD602B679D6C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3596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E0FB70E-9E82-42D5-B500-D6A9135611A6}" type="datetime1">
              <a:rPr lang="de-DE" smtClean="0"/>
              <a:t>02.06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2464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C35B6B2-CDB1-48CE-964D-0465879D9A9D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61715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EC8F389-2D92-4295-A5A1-FCF3C59E6657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745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1BA3ED0-D57D-4F54-8AD4-E3259B89A5A1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5306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DE972D5-9206-422D-820E-73F9CF4C33E2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72590" y="1247733"/>
            <a:ext cx="9787423" cy="5264940"/>
            <a:chOff x="372590" y="1247733"/>
            <a:chExt cx="9787423" cy="5264940"/>
          </a:xfrm>
        </p:grpSpPr>
        <p:sp>
          <p:nvSpPr>
            <p:cNvPr id="7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72590" y="1247733"/>
              <a:ext cx="2275804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pPr algn="l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72590" y="1583742"/>
              <a:ext cx="2275868" cy="2158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endParaRPr lang="de-DE" sz="1600">
                <a:latin typeface="+mn-lt"/>
                <a:cs typeface="+mn-cs"/>
              </a:endParaRPr>
            </a:p>
          </p:txBody>
        </p:sp>
        <p:sp>
          <p:nvSpPr>
            <p:cNvPr id="10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72590" y="4348327"/>
              <a:ext cx="2275868" cy="2158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>
                <a:latin typeface="+mn-lt"/>
                <a:cs typeface="+mn-cs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2590" y="4011383"/>
              <a:ext cx="2275804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pPr algn="l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876411" y="1583741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13" name="Rectangl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876411" y="124773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876411" y="4348326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876411" y="401138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9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380296" y="1583741"/>
              <a:ext cx="22758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0" name="Rectangle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380296" y="1247733"/>
              <a:ext cx="22758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1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380296" y="4348326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2" name="Rectangl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380296" y="401138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3" name="Rectangle 5"/>
            <p:cNvSpPr>
              <a:spLocks noChangeArrowheads="1"/>
            </p:cNvSpPr>
            <p:nvPr userDrawn="1">
              <p:custDataLst>
                <p:tags r:id="rId13"/>
              </p:custDataLst>
            </p:nvPr>
          </p:nvSpPr>
          <p:spPr bwMode="gray">
            <a:xfrm>
              <a:off x="7884081" y="1588282"/>
              <a:ext cx="22758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4" name="Rectangle 9"/>
            <p:cNvSpPr>
              <a:spLocks noChangeArrowheads="1"/>
            </p:cNvSpPr>
            <p:nvPr userDrawn="1">
              <p:custDataLst>
                <p:tags r:id="rId14"/>
              </p:custDataLst>
            </p:nvPr>
          </p:nvSpPr>
          <p:spPr bwMode="gray">
            <a:xfrm>
              <a:off x="7884081" y="1252274"/>
              <a:ext cx="22758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 userDrawn="1">
              <p:custDataLst>
                <p:tags r:id="rId15"/>
              </p:custDataLst>
            </p:nvPr>
          </p:nvSpPr>
          <p:spPr bwMode="gray">
            <a:xfrm>
              <a:off x="7884081" y="4352867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6" name="Rectangle 9"/>
            <p:cNvSpPr>
              <a:spLocks noChangeArrowheads="1"/>
            </p:cNvSpPr>
            <p:nvPr userDrawn="1">
              <p:custDataLst>
                <p:tags r:id="rId16"/>
              </p:custDataLst>
            </p:nvPr>
          </p:nvSpPr>
          <p:spPr bwMode="gray">
            <a:xfrm>
              <a:off x="7884081" y="4015924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8198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CA2FD64-5746-4BB9-B12D-A0298F27B0A9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96855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8C0AA7A-4F31-4525-BEB9-403DAC06BA0D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0219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83A620B-A236-4B2F-BB8D-C36BE8E3ED04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4117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3160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09C8EA4-5875-4157-9791-C4EFD7A85480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9587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B57C81A-2592-4DAF-8E82-886DEFCBBA7F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7073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8806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227C663-DABE-49C6-AB8E-36D094B27FF1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84607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D1CEF45-9435-4D7C-9690-D0CDC48735CE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564479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2576857-7ACA-477E-B663-68AD8D568DBC}" type="datetime1">
              <a:rPr lang="de-DE" smtClean="0"/>
              <a:t>02.06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07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43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4223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4956756-8045-42BF-9222-8EE947209BDF}" type="datetime1">
              <a:rPr lang="de-DE" smtClean="0"/>
              <a:t>02.06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1060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AF798A3-1238-415E-9404-0ADCA981D732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75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138AC56-5218-4B9E-ACDB-4D44631E6CD2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60717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23535B0-6A7B-443F-856D-DDC072D3B547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245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8A356A3-8CA3-47F6-A6AD-99C602E9AF67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46275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C5F2917-A3C0-4E5E-B017-BA3F98695D9C}" type="datetime1">
              <a:rPr lang="de-DE" smtClean="0"/>
              <a:t>02.06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43602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ABB4013-9415-4012-B9E6-A4F0E4EB2D81}" type="datetime1">
              <a:rPr lang="de-DE" smtClean="0"/>
              <a:t>02.06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17852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4E2CED4-06EB-48AE-B31A-FA67AEB1FE79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573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A977BDF-AC26-465E-BE39-01C4E94AA09F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777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6F72060-376F-4CF3-9FFD-50ABB7085702}" type="datetime1">
              <a:rPr lang="de-DE" smtClean="0"/>
              <a:t>02.06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83138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cruiting-Event NEXT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22AB21-E708-4796-8A08-B1E330CAE1E7}" type="datetime1">
              <a:rPr lang="de-DE" smtClean="0"/>
              <a:t>02.06.2020</a:t>
            </a:fld>
            <a:endParaRPr lang="de-DE"/>
          </a:p>
        </p:txBody>
      </p:sp>
      <p:sp>
        <p:nvSpPr>
          <p:cNvPr id="6" name="Rechteck 5"/>
          <p:cNvSpPr/>
          <p:nvPr userDrawn="1"/>
        </p:nvSpPr>
        <p:spPr bwMode="gray">
          <a:xfrm>
            <a:off x="371553" y="1250507"/>
            <a:ext cx="1520659" cy="1175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2329116" y="1250572"/>
            <a:ext cx="1520659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4308735" y="1250507"/>
            <a:ext cx="1520659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371553" y="3229947"/>
            <a:ext cx="1522342" cy="1175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314702" y="3229882"/>
            <a:ext cx="1522342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2332100" y="3229947"/>
            <a:ext cx="1522342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2332100" y="5209559"/>
            <a:ext cx="1522342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4314702" y="5209494"/>
            <a:ext cx="1522342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371553" y="5209559"/>
            <a:ext cx="1522342" cy="1175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5" name="Rechteck 14"/>
          <p:cNvSpPr/>
          <p:nvPr userDrawn="1"/>
        </p:nvSpPr>
        <p:spPr bwMode="gray">
          <a:xfrm>
            <a:off x="6317475" y="1249737"/>
            <a:ext cx="1520659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6323442" y="3229112"/>
            <a:ext cx="1522342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323442" y="5208724"/>
            <a:ext cx="1522342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8424839" y="1243013"/>
            <a:ext cx="1520659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9" name="Rechteck 18"/>
          <p:cNvSpPr/>
          <p:nvPr userDrawn="1"/>
        </p:nvSpPr>
        <p:spPr bwMode="gray">
          <a:xfrm>
            <a:off x="8430806" y="3222388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0" name="Rechteck 19"/>
          <p:cNvSpPr/>
          <p:nvPr userDrawn="1"/>
        </p:nvSpPr>
        <p:spPr bwMode="gray">
          <a:xfrm>
            <a:off x="8430806" y="5202000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10422363" y="1243013"/>
            <a:ext cx="1520659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2" name="Rechteck 21"/>
          <p:cNvSpPr/>
          <p:nvPr userDrawn="1"/>
        </p:nvSpPr>
        <p:spPr bwMode="gray">
          <a:xfrm>
            <a:off x="10428330" y="3222388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3" name="Rechteck 22"/>
          <p:cNvSpPr/>
          <p:nvPr userDrawn="1"/>
        </p:nvSpPr>
        <p:spPr bwMode="gray">
          <a:xfrm>
            <a:off x="10428330" y="5202000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579481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C747BC4-E904-4932-925F-B6DB77E1A382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2290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7B5E0E1-8D4E-4D29-94EB-C670FDC0BAE9}" type="datetime1">
              <a:rPr lang="de-DE" smtClean="0"/>
              <a:t>02.06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7812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4883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B92EDF6-BABD-4105-9D8D-C3BABC44DDD8}" type="datetime1">
              <a:rPr lang="de-DE" smtClean="0"/>
              <a:t>02.06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5622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5FA7ACA-F0F4-4E6D-83CD-547DD97F8284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7640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2.xml"/><Relationship Id="rId30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3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vmlDrawing" Target="../drawings/vmlDrawing12.v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oleObject" Target="../embeddings/oleObject18.bin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3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tags" Target="../tags/tag3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vmlDrawing" Target="../drawings/vmlDrawing18.vml"/><Relationship Id="rId27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oleObject" Target="../embeddings/oleObject23.bin"/><Relationship Id="rId3" Type="http://schemas.openxmlformats.org/officeDocument/2006/relationships/slideLayout" Target="../slideLayouts/slideLayout78.xml"/><Relationship Id="rId21" Type="http://schemas.openxmlformats.org/officeDocument/2006/relationships/vmlDrawing" Target="../drawings/vmlDrawing22.v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tags" Target="../tags/tag4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tags" Target="../tags/tag43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18708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945F92E-205E-4D71-BE2B-430D9D9F3D5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2" panose="05020102010507070707" pitchFamily="18" charset="2"/>
              <a:buNone/>
            </a:pPr>
            <a:endParaRPr lang="de-DE" sz="2200" b="1" i="0" baseline="0" noProof="0">
              <a:solidFill>
                <a:schemeClr val="accent5"/>
              </a:solidFill>
              <a:latin typeface="Futura Std Bold"/>
              <a:cs typeface="Arial" panose="020B0604020202020204" pitchFamily="34" charset="0"/>
              <a:sym typeface="Futura Std Bold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7F9F8E2-06EC-4B92-BFF9-98D86DC006BF}" type="datetime1">
              <a:rPr lang="de-DE" smtClean="0"/>
              <a:t>02.06.2020</a:t>
            </a:fld>
            <a:endParaRPr lang="de-DE"/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360362" y="1243106"/>
            <a:ext cx="11469687" cy="5256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1019768" y="262822"/>
            <a:ext cx="810298" cy="85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064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840" r:id="rId10"/>
    <p:sldLayoutId id="2147483841" r:id="rId11"/>
    <p:sldLayoutId id="2147483842" r:id="rId12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Wingdings 2" panose="05020102010507070707" pitchFamily="18" charset="2"/>
        <a:buChar char=""/>
        <a:defRPr lang="de-DE" sz="18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575">
          <p15:clr>
            <a:srgbClr val="547EBF"/>
          </p15:clr>
        </p15:guide>
        <p15:guide id="8" orient="horz" pos="164">
          <p15:clr>
            <a:srgbClr val="547EBF"/>
          </p15:clr>
        </p15:guide>
        <p15:guide id="9" orient="horz" pos="783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2" orient="horz" pos="3360">
          <p15:clr>
            <a:srgbClr val="547EBF"/>
          </p15:clr>
        </p15:guide>
        <p15:guide id="13" pos="2547">
          <p15:clr>
            <a:srgbClr val="547EBF"/>
          </p15:clr>
        </p15:guide>
        <p15:guide id="14" pos="2324">
          <p15:clr>
            <a:srgbClr val="547EBF"/>
          </p15:clr>
        </p15:guide>
        <p15:guide id="15" pos="5360">
          <p15:clr>
            <a:srgbClr val="547EBF"/>
          </p15:clr>
        </p15:guide>
        <p15:guide id="16" pos="5133">
          <p15:clr>
            <a:srgbClr val="547EBF"/>
          </p15:clr>
        </p15:guide>
        <p15:guide id="17" orient="horz" pos="4094">
          <p15:clr>
            <a:srgbClr val="547EBF"/>
          </p15:clr>
        </p15:guide>
        <p15:guide id="18" orient="horz" pos="3134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49907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28" imgW="360" imgH="360" progId="TCLayout.ActiveDocument.1">
                  <p:embed/>
                </p:oleObj>
              </mc:Choice>
              <mc:Fallback>
                <p:oleObj name="think-cell Folie" r:id="rId28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48E4253-2BB6-4998-8449-4F4BDAD75C99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1F6F52A-D54D-426B-BE82-1101AB063D13}" type="datetime1">
              <a:rPr lang="de-DE" smtClean="0"/>
              <a:t>02.06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1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2" orient="horz" pos="3360">
          <p15:clr>
            <a:srgbClr val="547EBF"/>
          </p15:clr>
        </p15:guide>
        <p15:guide id="13" pos="2550">
          <p15:clr>
            <a:srgbClr val="547EBF"/>
          </p15:clr>
        </p15:guide>
        <p15:guide id="14" pos="2324">
          <p15:clr>
            <a:srgbClr val="547EBF"/>
          </p15:clr>
        </p15:guide>
        <p15:guide id="15" pos="5360">
          <p15:clr>
            <a:srgbClr val="547EBF"/>
          </p15:clr>
        </p15:guide>
        <p15:guide id="16" pos="5133">
          <p15:clr>
            <a:srgbClr val="547EBF"/>
          </p15:clr>
        </p15:guide>
        <p15:guide id="17" orient="horz" pos="4094">
          <p15:clr>
            <a:srgbClr val="547EBF"/>
          </p15:clr>
        </p15:guide>
        <p15:guide id="18" orient="horz" pos="3134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69003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D570826-F9A4-4BC8-A2CB-92B96697B8B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75870D8-F14D-4747-8B46-FF7259AEF80E}" type="datetime1">
              <a:rPr lang="de-DE" smtClean="0"/>
              <a:t>02.06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987804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8330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818" r:id="rId20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78330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15F3910-4014-4C2A-97A4-A971136781BA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72D74C0-9BA5-4BEB-928D-BCDAE3F56050}" type="datetime1">
              <a:rPr lang="de-DE" smtClean="0"/>
              <a:t>02.06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6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5DDD7F4-CAAC-48EE-BF6E-D2CD194593A0}" type="datetime1">
              <a:rPr lang="de-DE" smtClean="0"/>
              <a:t>02.06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987804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9454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ext-data-service.com/recruiting-event/" TargetMode="External"/><Relationship Id="rId7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arriere@next-data-service.com" TargetMode="External"/><Relationship Id="rId2" Type="http://schemas.openxmlformats.org/officeDocument/2006/relationships/hyperlink" Target="http://www.next-data-service.com/recruiting-event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emf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0D31EC80-9A02-4C45-B9C0-903AC148EB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45" b="113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C34F7E-131D-FD44-946A-4AA601A3E9E6}" type="slidenum">
              <a:rPr lang="de-DE" smtClean="0"/>
              <a:t>1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A503D61-26ED-6246-89BA-8624ECAB06F0}"/>
              </a:ext>
            </a:extLst>
          </p:cNvPr>
          <p:cNvSpPr txBox="1"/>
          <p:nvPr/>
        </p:nvSpPr>
        <p:spPr>
          <a:xfrm>
            <a:off x="452861" y="365577"/>
            <a:ext cx="8573128" cy="1097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4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  <a:t>Recruiting-Event</a:t>
            </a:r>
            <a:br>
              <a:rPr lang="de-DE" sz="4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</a:br>
            <a:r>
              <a:rPr lang="de-DE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  <a:t>Zeige uns, was du drauf hast und lerne uns am 1. Juli kennen!</a:t>
            </a:r>
          </a:p>
          <a:p>
            <a:pPr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br>
              <a:rPr lang="de-DE" sz="2800" b="1">
                <a:solidFill>
                  <a:schemeClr val="bg1"/>
                </a:solidFill>
                <a:latin typeface="+mj-lt"/>
                <a:cs typeface="Futura Medium" panose="020B0602020204020303"/>
              </a:rPr>
            </a:br>
            <a:endParaRPr lang="de-DE" sz="1400" b="1">
              <a:solidFill>
                <a:schemeClr val="bg1"/>
              </a:solidFill>
              <a:latin typeface="+mj-lt"/>
              <a:cs typeface="Futura Medium" panose="020B0602020204020303"/>
            </a:endParaRPr>
          </a:p>
        </p:txBody>
      </p:sp>
      <p:sp>
        <p:nvSpPr>
          <p:cNvPr id="29" name="Rechteck 28"/>
          <p:cNvSpPr/>
          <p:nvPr/>
        </p:nvSpPr>
        <p:spPr bwMode="gray">
          <a:xfrm>
            <a:off x="1846886" y="3429000"/>
            <a:ext cx="5187922" cy="2789926"/>
          </a:xfrm>
          <a:prstGeom prst="rect">
            <a:avLst/>
          </a:prstGeom>
          <a:solidFill>
            <a:srgbClr val="D7F5F7">
              <a:alpha val="90000"/>
            </a:srgb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ir suchen </a:t>
            </a:r>
            <a:r>
              <a:rPr lang="de-DE" sz="2000" b="1" dirty="0">
                <a:solidFill>
                  <a:srgbClr val="0B2D41"/>
                </a:solidFill>
                <a:cs typeface="Futura Medium" panose="020B0602020204020303"/>
              </a:rPr>
              <a:t>Developer</a:t>
            </a: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. 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Zeige in unserer Challenge,</a:t>
            </a:r>
            <a:b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</a:b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as du drauf hast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Lerne unseren Vorstand kennen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erde Teil unseres Teams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chemeClr val="accent6"/>
                </a:solidFill>
                <a:latin typeface="Futura Medium" panose="020B0602020204020303" pitchFamily="34" charset="-79"/>
                <a:cs typeface="Futura Medium" panose="020B0602020204020303"/>
                <a:hlinkClick r:id="rId3"/>
              </a:rPr>
              <a:t>Weitere Infos!</a:t>
            </a:r>
            <a:endParaRPr lang="de-DE" sz="2000" b="1" dirty="0">
              <a:solidFill>
                <a:schemeClr val="accent6"/>
              </a:solidFill>
              <a:latin typeface="Futura Medium" panose="020B0602020204020303" pitchFamily="34" charset="-79"/>
              <a:cs typeface="Futura Medium" panose="020B0602020204020303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1346628" y="4328272"/>
            <a:ext cx="987903" cy="991383"/>
            <a:chOff x="4224835" y="1160902"/>
            <a:chExt cx="645559" cy="647833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DC61D5A6-F2A7-E742-ACDF-760064D1C000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4223698" y="1162039"/>
              <a:ext cx="647833" cy="645559"/>
              <a:chOff x="3164523" y="4910449"/>
              <a:chExt cx="1188725" cy="1184550"/>
            </a:xfrm>
            <a:solidFill>
              <a:srgbClr val="00A099"/>
            </a:solidFill>
          </p:grpSpPr>
          <p:sp>
            <p:nvSpPr>
              <p:cNvPr id="49" name="Oval 42">
                <a:extLst>
                  <a:ext uri="{FF2B5EF4-FFF2-40B4-BE49-F238E27FC236}">
                    <a16:creationId xmlns:a16="http://schemas.microsoft.com/office/drawing/2014/main" id="{B3C1C0A4-7FEF-E542-B52C-62D2AB6C1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4523" y="4910449"/>
                <a:ext cx="1188725" cy="118455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63294" tIns="31647" rIns="63294" bIns="31647" numCol="1" anchor="t" anchorCtr="0" compatLnSpc="1">
                <a:prstTxWarp prst="textNoShape">
                  <a:avLst/>
                </a:prstTxWarp>
              </a:bodyPr>
              <a:lstStyle/>
              <a:p>
                <a:pPr defTabSz="632948">
                  <a:defRPr/>
                </a:pPr>
                <a:endParaRPr lang="de-DE" sz="4000" kern="0">
                  <a:solidFill>
                    <a:srgbClr val="0B2D41"/>
                  </a:solidFill>
                  <a:latin typeface="Futura Std Book"/>
                  <a:cs typeface="Arial"/>
                </a:endParaRPr>
              </a:p>
            </p:txBody>
          </p:sp>
          <p:sp>
            <p:nvSpPr>
              <p:cNvPr id="50" name="Oval 42">
                <a:extLst>
                  <a:ext uri="{FF2B5EF4-FFF2-40B4-BE49-F238E27FC236}">
                    <a16:creationId xmlns:a16="http://schemas.microsoft.com/office/drawing/2014/main" id="{149443B0-25F7-5A4A-9C80-2D1329FDA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875" y="5024400"/>
                <a:ext cx="960020" cy="95664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63294" tIns="31647" rIns="63294" bIns="31647" numCol="1" anchor="t" anchorCtr="0" compatLnSpc="1">
                <a:prstTxWarp prst="textNoShape">
                  <a:avLst/>
                </a:prstTxWarp>
              </a:bodyPr>
              <a:lstStyle/>
              <a:p>
                <a:pPr defTabSz="632948">
                  <a:defRPr/>
                </a:pPr>
                <a:endParaRPr lang="de-DE" sz="4000" kern="0">
                  <a:solidFill>
                    <a:srgbClr val="0B2D41"/>
                  </a:solidFill>
                  <a:latin typeface="Futura Std Book"/>
                  <a:cs typeface="Arial"/>
                </a:endParaRPr>
              </a:p>
            </p:txBody>
          </p:sp>
        </p:grpSp>
        <p:pic>
          <p:nvPicPr>
            <p:cNvPr id="48" name="Grafik 47" descr="Ein Bild, das Teller, Zeichnung enthält.&#10;&#10;Automatisch generierte Beschreibung">
              <a:extLst>
                <a:ext uri="{FF2B5EF4-FFF2-40B4-BE49-F238E27FC236}">
                  <a16:creationId xmlns:a16="http://schemas.microsoft.com/office/drawing/2014/main" id="{E5535550-00B0-E142-AC08-BDEC176AF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53525" y="1298577"/>
              <a:ext cx="404289" cy="404289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FA96BC4-A0D1-402B-9731-FD0740CB98A2}"/>
              </a:ext>
            </a:extLst>
          </p:cNvPr>
          <p:cNvGrpSpPr/>
          <p:nvPr/>
        </p:nvGrpSpPr>
        <p:grpSpPr>
          <a:xfrm>
            <a:off x="7082341" y="3429001"/>
            <a:ext cx="5109658" cy="2789925"/>
            <a:chOff x="7531270" y="3128275"/>
            <a:chExt cx="5109658" cy="2789925"/>
          </a:xfrm>
        </p:grpSpPr>
        <p:sp>
          <p:nvSpPr>
            <p:cNvPr id="45" name="Rechteck 44"/>
            <p:cNvSpPr/>
            <p:nvPr/>
          </p:nvSpPr>
          <p:spPr bwMode="gray">
            <a:xfrm>
              <a:off x="7924302" y="3128275"/>
              <a:ext cx="3097753" cy="2789925"/>
            </a:xfrm>
            <a:prstGeom prst="rect">
              <a:avLst/>
            </a:prstGeom>
            <a:solidFill>
              <a:srgbClr val="D7F5F7">
                <a:alpha val="90000"/>
              </a:srgbClr>
            </a:solidFill>
          </p:spPr>
          <p:txBody>
            <a:bodyPr vert="horz" lIns="91440" tIns="45720" rIns="91440" bIns="45720" rtlCol="0" anchor="ctr">
              <a:normAutofit/>
            </a:bodyPr>
            <a:lstStyle/>
            <a:p>
              <a:pPr indent="0" algn="ctr" fontAlgn="base">
                <a:lnSpc>
                  <a:spcPct val="10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2"/>
                </a:buClr>
                <a:buFont typeface="Wingdings 2" panose="05020102010507070707" pitchFamily="18" charset="2"/>
                <a:buNone/>
              </a:pPr>
              <a:endParaRPr lang="de-DE" sz="100" b="0" noProof="0">
                <a:solidFill>
                  <a:schemeClr val="accent5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7578770" y="3393665"/>
              <a:ext cx="5062158" cy="954332"/>
              <a:chOff x="438347" y="5590279"/>
              <a:chExt cx="3669196" cy="691727"/>
            </a:xfrm>
          </p:grpSpPr>
          <p:grpSp>
            <p:nvGrpSpPr>
              <p:cNvPr id="55" name="Gruppieren 54"/>
              <p:cNvGrpSpPr/>
              <p:nvPr/>
            </p:nvGrpSpPr>
            <p:grpSpPr>
              <a:xfrm>
                <a:off x="438347" y="5590279"/>
                <a:ext cx="645559" cy="647833"/>
                <a:chOff x="4224835" y="6647141"/>
                <a:chExt cx="645559" cy="647833"/>
              </a:xfrm>
            </p:grpSpPr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2AC58A37-3D3C-BB4F-AAB1-35A45B8DD0F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5400000">
                  <a:off x="4223698" y="6648278"/>
                  <a:ext cx="647833" cy="645559"/>
                  <a:chOff x="3164523" y="4910449"/>
                  <a:chExt cx="1188725" cy="1184550"/>
                </a:xfrm>
                <a:solidFill>
                  <a:srgbClr val="FF407B"/>
                </a:solidFill>
              </p:grpSpPr>
              <p:sp>
                <p:nvSpPr>
                  <p:cNvPr id="58" name="Oval 42">
                    <a:extLst>
                      <a:ext uri="{FF2B5EF4-FFF2-40B4-BE49-F238E27FC236}">
                        <a16:creationId xmlns:a16="http://schemas.microsoft.com/office/drawing/2014/main" id="{0B0DC5AE-33FA-E04A-8B82-F9720CC28AD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64523" y="4910449"/>
                    <a:ext cx="1188725" cy="1184550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63294" tIns="31647" rIns="63294" bIns="3164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32948">
                      <a:defRPr/>
                    </a:pPr>
                    <a:endParaRPr lang="de-DE" sz="4400" kern="0">
                      <a:solidFill>
                        <a:srgbClr val="0B2D41"/>
                      </a:solidFill>
                      <a:latin typeface="Futura Std Book"/>
                      <a:cs typeface="Arial"/>
                    </a:endParaRPr>
                  </a:p>
                </p:txBody>
              </p:sp>
              <p:sp>
                <p:nvSpPr>
                  <p:cNvPr id="59" name="Oval 42">
                    <a:extLst>
                      <a:ext uri="{FF2B5EF4-FFF2-40B4-BE49-F238E27FC236}">
                        <a16:creationId xmlns:a16="http://schemas.microsoft.com/office/drawing/2014/main" id="{73729DFF-79AD-D748-A345-7DC8C75FEE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278875" y="5024400"/>
                    <a:ext cx="960020" cy="95664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63294" tIns="31647" rIns="63294" bIns="3164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32948">
                      <a:defRPr/>
                    </a:pPr>
                    <a:endParaRPr lang="de-DE" sz="4400" kern="0">
                      <a:solidFill>
                        <a:srgbClr val="0B2D41"/>
                      </a:solidFill>
                      <a:latin typeface="Futura Std Book"/>
                      <a:cs typeface="Arial"/>
                    </a:endParaRPr>
                  </a:p>
                </p:txBody>
              </p:sp>
            </p:grpSp>
            <p:pic>
              <p:nvPicPr>
                <p:cNvPr id="57" name="Grafik 56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839B9AE3-685C-114A-9E2A-6038351EF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338929" y="6759094"/>
                  <a:ext cx="404289" cy="404289"/>
                </a:xfrm>
                <a:prstGeom prst="rect">
                  <a:avLst/>
                </a:prstGeom>
              </p:spPr>
            </p:pic>
          </p:grp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2E2972EF-AA02-0E4D-B927-C2290B6D8676}"/>
                  </a:ext>
                </a:extLst>
              </p:cNvPr>
              <p:cNvSpPr txBox="1"/>
              <p:nvPr/>
            </p:nvSpPr>
            <p:spPr>
              <a:xfrm>
                <a:off x="1245503" y="5670947"/>
                <a:ext cx="2862040" cy="611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208"/>
                  </a:spcBef>
                  <a:spcAft>
                    <a:spcPts val="69"/>
                  </a:spcAft>
                  <a:buClr>
                    <a:schemeClr val="tx2"/>
                  </a:buClr>
                </a:pPr>
                <a: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Mittwoch, </a:t>
                </a:r>
                <a:b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1. Juli 2020,</a:t>
                </a:r>
                <a:b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18.15 Uhr</a:t>
                </a:r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7531270" y="4804154"/>
              <a:ext cx="3225077" cy="899634"/>
              <a:chOff x="4179840" y="4920499"/>
              <a:chExt cx="2337626" cy="652080"/>
            </a:xfrm>
          </p:grpSpPr>
          <p:grpSp>
            <p:nvGrpSpPr>
              <p:cNvPr id="52" name="Gruppieren 51"/>
              <p:cNvGrpSpPr/>
              <p:nvPr/>
            </p:nvGrpSpPr>
            <p:grpSpPr>
              <a:xfrm>
                <a:off x="4179840" y="4920499"/>
                <a:ext cx="649788" cy="652080"/>
                <a:chOff x="4255704" y="7708149"/>
                <a:chExt cx="649788" cy="652080"/>
              </a:xfrm>
            </p:grpSpPr>
            <p:sp>
              <p:nvSpPr>
                <p:cNvPr id="53" name="Oval 42">
                  <a:extLst>
                    <a:ext uri="{FF2B5EF4-FFF2-40B4-BE49-F238E27FC236}">
                      <a16:creationId xmlns:a16="http://schemas.microsoft.com/office/drawing/2014/main" id="{071A6537-F93B-DB4E-8251-41150EBEC3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 rot="5400000">
                  <a:off x="4254558" y="7709295"/>
                  <a:ext cx="652080" cy="649788"/>
                </a:xfrm>
                <a:prstGeom prst="ellipse">
                  <a:avLst/>
                </a:prstGeom>
                <a:solidFill>
                  <a:srgbClr val="4A4E93"/>
                </a:solidFill>
                <a:ln>
                  <a:noFill/>
                </a:ln>
              </p:spPr>
              <p:txBody>
                <a:bodyPr vert="horz" wrap="square" lIns="63294" tIns="31647" rIns="63294" bIns="3164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32948">
                    <a:defRPr/>
                  </a:pPr>
                  <a:endParaRPr lang="de-DE" sz="4400" kern="0">
                    <a:solidFill>
                      <a:srgbClr val="0B2D41"/>
                    </a:solidFill>
                    <a:latin typeface="Futura Std Book"/>
                    <a:cs typeface="Arial"/>
                  </a:endParaRPr>
                </a:p>
              </p:txBody>
            </p:sp>
            <p:pic>
              <p:nvPicPr>
                <p:cNvPr id="54" name="Grafik 53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93F93F09-2924-0246-BFB7-EA2C0AD1E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383941" y="7833354"/>
                  <a:ext cx="407083" cy="407083"/>
                </a:xfrm>
                <a:prstGeom prst="rect">
                  <a:avLst/>
                </a:prstGeom>
              </p:spPr>
            </p:pic>
          </p:grpSp>
          <p:sp>
            <p:nvSpPr>
              <p:cNvPr id="61" name="Rechteck 60"/>
              <p:cNvSpPr/>
              <p:nvPr/>
            </p:nvSpPr>
            <p:spPr>
              <a:xfrm>
                <a:off x="4960286" y="4994810"/>
                <a:ext cx="1557180" cy="5130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208"/>
                  </a:spcBef>
                  <a:spcAft>
                    <a:spcPts val="69"/>
                  </a:spcAft>
                  <a:buClr>
                    <a:schemeClr val="tx2"/>
                  </a:buClr>
                </a:pPr>
                <a: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Virtuell über </a:t>
                </a:r>
                <a:b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 dirty="0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Microsoft </a:t>
                </a:r>
                <a:r>
                  <a:rPr lang="de-DE" sz="2000" b="1" dirty="0" err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teams</a:t>
                </a:r>
                <a:endParaRPr lang="de-DE" sz="2000" b="1" dirty="0">
                  <a:solidFill>
                    <a:srgbClr val="0B2D41"/>
                  </a:solidFill>
                  <a:latin typeface="Futura Medium" panose="020B0602020204020303" pitchFamily="34" charset="-79"/>
                  <a:cs typeface="Futura Medium" panose="020B0602020204020303" pitchFamily="34" charset="-79"/>
                </a:endParaRPr>
              </a:p>
            </p:txBody>
          </p:sp>
        </p:grp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C5B1189D-1579-4150-B1DF-CC92F73457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617" y="143405"/>
            <a:ext cx="1888755" cy="1138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28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Vorname Nachname 16_9.pptx</a:t>
            </a:r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32FBDC-2D9D-485D-9119-D68FF6951B78}" type="datetime1">
              <a:rPr lang="de-DE" smtClean="0"/>
              <a:t>02.06.2020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58252B-990A-4A15-A757-E4C193A32E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0362" y="1243106"/>
            <a:ext cx="11469687" cy="2185894"/>
          </a:xfrm>
          <a:solidFill>
            <a:schemeClr val="accent2"/>
          </a:solidFill>
        </p:spPr>
        <p:txBody>
          <a:bodyPr tIns="46800" anchor="ctr"/>
          <a:lstStyle/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e E-Mail-Adresse: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aktueller Wohnort: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LinkedIn-Profil: </a:t>
            </a:r>
            <a:r>
              <a:rPr lang="de-DE" i="1" dirty="0">
                <a:solidFill>
                  <a:schemeClr val="bg1"/>
                </a:solidFill>
              </a:rPr>
              <a:t>bitte sofern vorhanden Link hier einfügen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XING-Profil: </a:t>
            </a:r>
            <a:r>
              <a:rPr lang="de-DE" i="1" dirty="0">
                <a:solidFill>
                  <a:schemeClr val="bg1"/>
                </a:solidFill>
              </a:rPr>
              <a:t>bitte sofern vorhanden Link hier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C67E2FB-2B7E-4B54-A532-7552151E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ckbrief</a:t>
            </a:r>
            <a:br>
              <a:rPr lang="de-DE" dirty="0"/>
            </a:br>
            <a:r>
              <a:rPr lang="de-DE" b="0" dirty="0"/>
              <a:t>Dein Vorname Nachnam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9C3E004-0F2F-44CF-8A93-408D017B947B}"/>
              </a:ext>
            </a:extLst>
          </p:cNvPr>
          <p:cNvSpPr/>
          <p:nvPr/>
        </p:nvSpPr>
        <p:spPr bwMode="gray">
          <a:xfrm>
            <a:off x="8572499" y="303306"/>
            <a:ext cx="1904999" cy="2073700"/>
          </a:xfrm>
          <a:prstGeom prst="rect">
            <a:avLst/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indent="0" algn="ctr" fontAlgn="base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2" panose="05020102010507070707" pitchFamily="18" charset="2"/>
              <a:buNone/>
            </a:pPr>
            <a:r>
              <a:rPr lang="de-DE" b="0" noProof="0" dirty="0">
                <a:solidFill>
                  <a:schemeClr val="bg1"/>
                </a:solidFill>
              </a:rPr>
              <a:t>Dein Foto</a:t>
            </a:r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id="{A8A9DE23-7B1C-45F2-88A5-CB46A3951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2" y="3529076"/>
            <a:ext cx="11469681" cy="2970148"/>
          </a:xfrm>
          <a:prstGeom prst="rect">
            <a:avLst/>
          </a:prstGeom>
          <a:solidFill>
            <a:schemeClr val="tx1"/>
          </a:solidFill>
          <a:ln w="19050">
            <a:noFill/>
            <a:miter lim="800000"/>
            <a:headEnd/>
            <a:tailEnd/>
          </a:ln>
          <a:effectLst/>
        </p:spPr>
        <p:txBody>
          <a:bodyPr lIns="360000" tIns="72000" rIns="324000" bIns="72000" anchor="ctr"/>
          <a:lstStyle/>
          <a:p>
            <a:pPr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>
                <a:solidFill>
                  <a:prstClr val="white"/>
                </a:solidFill>
              </a:rPr>
              <a:t>Dein Studienschwerpunkt und angestrebter Abschluss: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endParaRPr lang="de-DE" dirty="0">
              <a:solidFill>
                <a:prstClr val="white"/>
              </a:solidFill>
            </a:endParaRPr>
          </a:p>
          <a:p>
            <a:pPr lvl="0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>
                <a:solidFill>
                  <a:prstClr val="white"/>
                </a:solidFill>
              </a:rPr>
              <a:t>Deine Berufserfahrungen/Praktika: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lvl="0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endParaRPr lang="de-DE" b="1" i="1" dirty="0">
              <a:solidFill>
                <a:prstClr val="white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4E15047-ED0C-4BAB-A326-EF50664C2FAA}"/>
              </a:ext>
            </a:extLst>
          </p:cNvPr>
          <p:cNvSpPr/>
          <p:nvPr/>
        </p:nvSpPr>
        <p:spPr>
          <a:xfrm>
            <a:off x="7677150" y="4269583"/>
            <a:ext cx="4152893" cy="2115416"/>
          </a:xfrm>
          <a:prstGeom prst="rect">
            <a:avLst/>
          </a:pr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 algn="ctr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/>
              <a:t>Deine Frage an den Vorstand </a:t>
            </a:r>
            <a:br>
              <a:rPr lang="de-DE" dirty="0"/>
            </a:br>
            <a:r>
              <a:rPr lang="de-DE" dirty="0"/>
              <a:t>der NEXT Data Service:</a:t>
            </a:r>
          </a:p>
          <a:p>
            <a:pPr lvl="0" algn="ctr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i="1" dirty="0"/>
              <a:t>XXXX</a:t>
            </a:r>
          </a:p>
        </p:txBody>
      </p:sp>
    </p:spTree>
    <p:extLst>
      <p:ext uri="{BB962C8B-B14F-4D97-AF65-F5344CB8AC3E}">
        <p14:creationId xmlns:p14="http://schemas.microsoft.com/office/powerpoint/2010/main" val="3350318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Recruiting-Event NEXT 202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747138-AE5C-4802-BD55-B8C02D6ACAEE}" type="datetime1">
              <a:rPr lang="de-DE" smtClean="0"/>
              <a:t>02.06.2020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23040DB-5935-43D0-8C4F-DC56641841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0362" y="1243106"/>
            <a:ext cx="7878763" cy="5256118"/>
          </a:xfrm>
        </p:spPr>
        <p:txBody>
          <a:bodyPr>
            <a:normAutofit/>
          </a:bodyPr>
          <a:lstStyle/>
          <a:p>
            <a:r>
              <a:rPr lang="de-DE" dirty="0"/>
              <a:t>Zeige in unserer Challenge was du drauf hast. Bewirb dich </a:t>
            </a:r>
            <a:br>
              <a:rPr lang="de-DE" dirty="0"/>
            </a:br>
            <a:r>
              <a:rPr lang="de-DE" dirty="0"/>
              <a:t>bis zum 22. Juni 2020</a:t>
            </a:r>
          </a:p>
          <a:p>
            <a:r>
              <a:rPr lang="de-DE" dirty="0"/>
              <a:t>Lerne unseren Vorstand beim Recruiting-Event am 1. Juli 2020 kennen</a:t>
            </a:r>
          </a:p>
          <a:p>
            <a:r>
              <a:rPr lang="de-DE" dirty="0"/>
              <a:t>Teilnahme nur mit Einreichen einer vollständigen Bewerbung</a:t>
            </a:r>
          </a:p>
          <a:p>
            <a:pPr lvl="1"/>
            <a:r>
              <a:rPr lang="de-DE" dirty="0"/>
              <a:t>d.h. ausgefüllter Steckbrief</a:t>
            </a:r>
          </a:p>
          <a:p>
            <a:pPr lvl="1"/>
            <a:r>
              <a:rPr lang="de-DE" dirty="0"/>
              <a:t>Gelöste Challenge,  Abgabe deiner Lösung</a:t>
            </a:r>
          </a:p>
          <a:p>
            <a:r>
              <a:rPr lang="de-DE" dirty="0"/>
              <a:t>Bewerbungsfrist: 22. Juni 2020, 23.59 Uhr</a:t>
            </a:r>
          </a:p>
          <a:p>
            <a:r>
              <a:rPr lang="de-DE" dirty="0"/>
              <a:t>Nur die besten maximal 15 Teilnehmer sind am 1. Juli dabei</a:t>
            </a:r>
          </a:p>
          <a:p>
            <a:r>
              <a:rPr lang="de-DE" dirty="0"/>
              <a:t>Unter diesen verlosen wir zwei Drohnen </a:t>
            </a:r>
            <a:r>
              <a:rPr lang="de-DE" dirty="0" err="1"/>
              <a:t>Dji</a:t>
            </a:r>
            <a:r>
              <a:rPr lang="de-DE" dirty="0"/>
              <a:t> </a:t>
            </a:r>
            <a:r>
              <a:rPr lang="de-DE" dirty="0" err="1"/>
              <a:t>Tello</a:t>
            </a:r>
            <a:r>
              <a:rPr lang="de-DE" dirty="0"/>
              <a:t> EDU</a:t>
            </a:r>
          </a:p>
          <a:p>
            <a:r>
              <a:rPr lang="de-DE" dirty="0"/>
              <a:t>Die beste Lösung gewinnt einen </a:t>
            </a:r>
            <a:r>
              <a:rPr lang="de-DE" dirty="0" err="1"/>
              <a:t>JetBot</a:t>
            </a:r>
            <a:r>
              <a:rPr lang="de-DE" dirty="0"/>
              <a:t> AI Kit basierend auf </a:t>
            </a:r>
            <a:r>
              <a:rPr lang="de-DE" dirty="0" err="1"/>
              <a:t>Nvidias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Nano</a:t>
            </a:r>
          </a:p>
          <a:p>
            <a:r>
              <a:rPr lang="de-DE" dirty="0"/>
              <a:t>Weitere Info unter: </a:t>
            </a:r>
            <a:r>
              <a:rPr lang="de-DE" dirty="0">
                <a:hlinkClick r:id="rId2"/>
              </a:rPr>
              <a:t>www.next-data-service.com/recruiting-event</a:t>
            </a:r>
            <a:r>
              <a:rPr lang="de-DE" dirty="0"/>
              <a:t> </a:t>
            </a:r>
          </a:p>
          <a:p>
            <a:r>
              <a:rPr lang="de-DE" dirty="0"/>
              <a:t>Bei Fragen wende dich an: </a:t>
            </a:r>
            <a:r>
              <a:rPr lang="de-DE" dirty="0">
                <a:hlinkClick r:id="rId3"/>
              </a:rPr>
              <a:t>challenge@next-data-service.com</a:t>
            </a:r>
            <a:r>
              <a:rPr lang="de-DE" dirty="0"/>
              <a:t> </a:t>
            </a:r>
          </a:p>
        </p:txBody>
      </p:sp>
      <p:sp>
        <p:nvSpPr>
          <p:cNvPr id="757779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ine Teilnahme</a:t>
            </a:r>
            <a:br>
              <a:rPr lang="de-DE" dirty="0"/>
            </a:br>
            <a:r>
              <a:rPr lang="de-DE" sz="1800" b="0" dirty="0"/>
              <a:t>am Recruiting-Event am 1. Juli 2020</a:t>
            </a:r>
            <a:endParaRPr lang="de-DE" sz="1400" b="0" dirty="0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46BE05F3-F516-4A66-8283-7D8CED4D0B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10" t="12803" r="43382" b="9887"/>
          <a:stretch/>
        </p:blipFill>
        <p:spPr>
          <a:xfrm>
            <a:off x="8508998" y="0"/>
            <a:ext cx="3683001" cy="6858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95D6E3C9-A02A-4171-B56C-15F3ADF0A1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19768" y="262822"/>
            <a:ext cx="810298" cy="85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076WPn56EHcUFkI11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_zfyfUBiXUYrLanZKz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6PFaznaxzk1Qhyj5Cd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G9EVoZdBi5bNZip2w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heme/theme1.xml><?xml version="1.0" encoding="utf-8"?>
<a:theme xmlns:a="http://schemas.openxmlformats.org/drawingml/2006/main" name="1_UNITY">
  <a:themeElements>
    <a:clrScheme name="Next Data Service">
      <a:dk1>
        <a:srgbClr val="0B2D41"/>
      </a:dk1>
      <a:lt1>
        <a:sysClr val="window" lastClr="FFFFFF"/>
      </a:lt1>
      <a:dk2>
        <a:srgbClr val="71DEA9"/>
      </a:dk2>
      <a:lt2>
        <a:srgbClr val="D7F5F7"/>
      </a:lt2>
      <a:accent1>
        <a:srgbClr val="71DEA9"/>
      </a:accent1>
      <a:accent2>
        <a:srgbClr val="00A099"/>
      </a:accent2>
      <a:accent3>
        <a:srgbClr val="4A4E93"/>
      </a:accent3>
      <a:accent4>
        <a:srgbClr val="FFFF95"/>
      </a:accent4>
      <a:accent5>
        <a:srgbClr val="00A099"/>
      </a:accent5>
      <a:accent6>
        <a:srgbClr val="FF407B"/>
      </a:accent6>
      <a:hlink>
        <a:srgbClr val="00A099"/>
      </a:hlink>
      <a:folHlink>
        <a:srgbClr val="71DEA9"/>
      </a:folHlink>
    </a:clrScheme>
    <a:fontScheme name="Next">
      <a:majorFont>
        <a:latin typeface="Futura Std Bold"/>
        <a:ea typeface="Arial"/>
        <a:cs typeface="Arial"/>
      </a:majorFont>
      <a:minorFont>
        <a:latin typeface="Futura Std Book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tx2"/>
        </a:solidFill>
      </a:spPr>
      <a:bodyPr vert="horz" lIns="91440" tIns="45720" rIns="91440" bIns="45720" rtlCol="0">
        <a:normAutofit/>
      </a:bodyPr>
      <a:lstStyle>
        <a:defPPr indent="0" fontAlgn="base">
          <a:lnSpc>
            <a:spcPct val="100000"/>
          </a:lnSpc>
          <a:spcBef>
            <a:spcPts val="600"/>
          </a:spcBef>
          <a:spcAft>
            <a:spcPts val="200"/>
          </a:spcAft>
          <a:buClr>
            <a:schemeClr val="tx2"/>
          </a:buClr>
          <a:buFont typeface="Wingdings 2" panose="05020102010507070707" pitchFamily="18" charset="2"/>
          <a:buNone/>
          <a:defRPr sz="100" b="0" noProof="0" dirty="0" smtClean="0">
            <a:solidFill>
              <a:schemeClr val="accent5"/>
            </a:solidFill>
          </a:defRPr>
        </a:defPPr>
      </a:lst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signvorlage_16_9_Vortraege.potx" id="{CBC75102-D562-41F5-B0D0-2AC6BB287440}" vid="{08CECEB7-E69B-4F17-B88D-21D4234F4C80}"/>
    </a:ext>
  </a:extLst>
</a:theme>
</file>

<file path=ppt/theme/theme2.xml><?xml version="1.0" encoding="utf-8"?>
<a:theme xmlns:a="http://schemas.openxmlformats.org/drawingml/2006/main" name="2_UNITY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ernehmensdarstellung_16_9_DE.potx" id="{D82BEDB8-0B9C-432B-BDA9-8C5828DD9366}" vid="{746DD050-E993-47FD-94B2-38785A8D8BE6}"/>
    </a:ext>
  </a:extLst>
</a:theme>
</file>

<file path=ppt/theme/theme3.xml><?xml version="1.0" encoding="utf-8"?>
<a:theme xmlns:a="http://schemas.openxmlformats.org/drawingml/2006/main" name="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Anlage_1_Leistungsbeschreibung_Angebote_16_9.pptx" id="{C3F142E1-7B97-4463-A21D-5F645D58E83A}" vid="{072ACD77-5645-4463-BD9B-D79EDBDB05BE}"/>
    </a:ext>
  </a:extLst>
</a:theme>
</file>

<file path=ppt/theme/theme4.xml><?xml version="1.0" encoding="utf-8"?>
<a:theme xmlns:a="http://schemas.openxmlformats.org/drawingml/2006/main" name="1_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Unternehmensdarstellung_DE.potx" id="{E297CAB8-E8A2-4E37-A745-7BC99EEB9B1E}" vid="{FDAB5CB9-9087-4AD1-8411-0A1BCAB81CC6}"/>
    </a:ext>
  </a:extLst>
</a:theme>
</file>

<file path=ppt/theme/theme5.xml><?xml version="1.0" encoding="utf-8"?>
<a:theme xmlns:a="http://schemas.openxmlformats.org/drawingml/2006/main" name="2_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UNITY.potx" id="{A7CCDB22-9DDF-43F4-BB66-819783515A9C}" vid="{57030FAC-C784-4403-8B38-5D8D977E7ED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D672620E3C66C4A9D74B61941B8E097" ma:contentTypeVersion="12" ma:contentTypeDescription="Ein neues Dokument erstellen." ma:contentTypeScope="" ma:versionID="9b22db0f84f07d3d6ac673fc0c0f313f">
  <xsd:schema xmlns:xsd="http://www.w3.org/2001/XMLSchema" xmlns:xs="http://www.w3.org/2001/XMLSchema" xmlns:p="http://schemas.microsoft.com/office/2006/metadata/properties" xmlns:ns2="cc21af2d-5116-4078-8964-a2d6c2223542" xmlns:ns3="d78d7dcb-394f-4d58-a365-6f5cb404745f" targetNamespace="http://schemas.microsoft.com/office/2006/metadata/properties" ma:root="true" ma:fieldsID="e446991ccf0e32c6b2003ff463394b7b" ns2:_="" ns3:_="">
    <xsd:import namespace="cc21af2d-5116-4078-8964-a2d6c2223542"/>
    <xsd:import namespace="d78d7dcb-394f-4d58-a365-6f5cb40474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21af2d-5116-4078-8964-a2d6c22235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d7dcb-394f-4d58-a365-6f5cb404745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0440FA-4AD1-4950-A76A-7312233B59E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EE9BF92-D057-4880-83F0-E7924D2E83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21af2d-5116-4078-8964-a2d6c2223542"/>
    <ds:schemaRef ds:uri="d78d7dcb-394f-4d58-a365-6f5cb40474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00EAFE-C3FA-4ACA-B0D0-91265CC83B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8</Words>
  <Application>Microsoft Office PowerPoint</Application>
  <PresentationFormat>Breitbild</PresentationFormat>
  <Paragraphs>4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7" baseType="lpstr">
      <vt:lpstr>Arial</vt:lpstr>
      <vt:lpstr>Calibri</vt:lpstr>
      <vt:lpstr>Futura Medium</vt:lpstr>
      <vt:lpstr>Futura Std Bold</vt:lpstr>
      <vt:lpstr>Futura Std Book</vt:lpstr>
      <vt:lpstr>Wingdings</vt:lpstr>
      <vt:lpstr>Wingdings 2</vt:lpstr>
      <vt:lpstr>Wingdings 3</vt:lpstr>
      <vt:lpstr>1_UNITY</vt:lpstr>
      <vt:lpstr>2_UNITY</vt:lpstr>
      <vt:lpstr>UNITY_16_9</vt:lpstr>
      <vt:lpstr>1_UNITY_16_9</vt:lpstr>
      <vt:lpstr>2_UNITY_16_9</vt:lpstr>
      <vt:lpstr>think-cell Folie</vt:lpstr>
      <vt:lpstr>PowerPoint-Präsentation</vt:lpstr>
      <vt:lpstr>Steckbrief Dein Vorname Nachname</vt:lpstr>
      <vt:lpstr>Deine Teilnahme am Recruiting-Event am 1. Juli 2020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chts, Svenja</dc:creator>
  <cp:lastModifiedBy>Alexander Perl</cp:lastModifiedBy>
  <cp:revision>4</cp:revision>
  <dcterms:created xsi:type="dcterms:W3CDTF">2018-02-07T19:16:32Z</dcterms:created>
  <dcterms:modified xsi:type="dcterms:W3CDTF">2020-06-02T11:5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672620E3C66C4A9D74B61941B8E097</vt:lpwstr>
  </property>
  <property fmtid="{D5CDD505-2E9C-101B-9397-08002B2CF9AE}" pid="3" name="Projektphase">
    <vt:lpwstr/>
  </property>
  <property fmtid="{D5CDD505-2E9C-101B-9397-08002B2CF9AE}" pid="4" name="4-Ebenen Modell / Innofeld">
    <vt:lpwstr/>
  </property>
  <property fmtid="{D5CDD505-2E9C-101B-9397-08002B2CF9AE}" pid="5" name="Inhaltsart">
    <vt:lpwstr>15;#Leistungsangebot / Salespack|c8a5b44a-099e-4094-8a41-5dfd38477ff1</vt:lpwstr>
  </property>
  <property fmtid="{D5CDD505-2E9C-101B-9397-08002B2CF9AE}" pid="6" name="Prozesskette">
    <vt:lpwstr>69;#Data Driven Services|acf1eac4-8200-4773-b088-1edb1ec0c39c</vt:lpwstr>
  </property>
  <property fmtid="{D5CDD505-2E9C-101B-9397-08002B2CF9AE}" pid="7" name="Branche">
    <vt:lpwstr/>
  </property>
  <property fmtid="{D5CDD505-2E9C-101B-9397-08002B2CF9AE}" pid="8" name="AuthorIds_UIVersion_512">
    <vt:lpwstr>13</vt:lpwstr>
  </property>
  <property fmtid="{D5CDD505-2E9C-101B-9397-08002B2CF9AE}" pid="9" name="_dlc_DocIdItemGuid">
    <vt:lpwstr>3305c9d5-13c6-4497-8441-b298a254353b</vt:lpwstr>
  </property>
  <property fmtid="{D5CDD505-2E9C-101B-9397-08002B2CF9AE}" pid="10" name="DocumentSetDescription">
    <vt:lpwstr/>
  </property>
  <property fmtid="{D5CDD505-2E9C-101B-9397-08002B2CF9AE}" pid="11" name="o49e3889c13a4c8ba2943025e0e4323a">
    <vt:lpwstr>Leistungsangebot / Salespack|c8a5b44a-099e-4094-8a41-5dfd38477ff1</vt:lpwstr>
  </property>
  <property fmtid="{D5CDD505-2E9C-101B-9397-08002B2CF9AE}" pid="12" name="TaxCatchAll">
    <vt:lpwstr>24;#Data Driven Services (inkl. Serviceentwicklung)|acf1eac4-8200-4773-b088-1edb1ec0c39c;#15;#Leistungsangebot / Salespack|c8a5b44a-099e-4094-8a41-5dfd38477ff1</vt:lpwstr>
  </property>
  <property fmtid="{D5CDD505-2E9C-101B-9397-08002B2CF9AE}" pid="13" name="Salesbox">
    <vt:lpwstr>24;#Data Driven Services (inkl. Serviceentwicklung)|acf1eac4-8200-4773-b088-1edb1ec0c39c</vt:lpwstr>
  </property>
</Properties>
</file>